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1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572064682446679E-2"/>
          <c:y val="0.10317460317460317"/>
          <c:w val="0.91024138739160998"/>
          <c:h val="0.81620718462823727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FA8-47FF-853B-23C30949501B}"/>
              </c:ext>
            </c:extLst>
          </c:dPt>
          <c:dLbls>
            <c:dLbl>
              <c:idx val="15"/>
              <c:layout>
                <c:manualLayout>
                  <c:x val="0"/>
                  <c:y val="-5.6390977443609019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FA8-47FF-853B-23C3094950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19723</c:v>
                </c:pt>
                <c:pt idx="1">
                  <c:v>20089</c:v>
                </c:pt>
                <c:pt idx="2">
                  <c:v>20454</c:v>
                </c:pt>
                <c:pt idx="3">
                  <c:v>20819</c:v>
                </c:pt>
                <c:pt idx="4">
                  <c:v>21184</c:v>
                </c:pt>
                <c:pt idx="5">
                  <c:v>21550</c:v>
                </c:pt>
                <c:pt idx="6">
                  <c:v>21915</c:v>
                </c:pt>
                <c:pt idx="7">
                  <c:v>22280</c:v>
                </c:pt>
                <c:pt idx="8">
                  <c:v>22645</c:v>
                </c:pt>
                <c:pt idx="9">
                  <c:v>23011</c:v>
                </c:pt>
                <c:pt idx="10">
                  <c:v>23376</c:v>
                </c:pt>
                <c:pt idx="11">
                  <c:v>23741</c:v>
                </c:pt>
                <c:pt idx="12">
                  <c:v>24106</c:v>
                </c:pt>
                <c:pt idx="13">
                  <c:v>24472</c:v>
                </c:pt>
                <c:pt idx="14">
                  <c:v>24837</c:v>
                </c:pt>
                <c:pt idx="15">
                  <c:v>25202</c:v>
                </c:pt>
              </c:numCache>
            </c:numRef>
          </c:xVal>
          <c:yVal>
            <c:numRef>
              <c:f>Sheet1!$A$2:$P$2</c:f>
              <c:numCache>
                <c:formatCode>General</c:formatCode>
                <c:ptCount val="16"/>
                <c:pt idx="0">
                  <c:v>8</c:v>
                </c:pt>
                <c:pt idx="1">
                  <c:v>6</c:v>
                </c:pt>
                <c:pt idx="2">
                  <c:v>12</c:v>
                </c:pt>
                <c:pt idx="3">
                  <c:v>17</c:v>
                </c:pt>
                <c:pt idx="4">
                  <c:v>16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.999999999999996</c:v>
                </c:pt>
                <c:pt idx="9">
                  <c:v>18.000000000000004</c:v>
                </c:pt>
                <c:pt idx="10">
                  <c:v>17</c:v>
                </c:pt>
                <c:pt idx="11">
                  <c:v>17</c:v>
                </c:pt>
                <c:pt idx="12">
                  <c:v>18.999999999999996</c:v>
                </c:pt>
                <c:pt idx="13">
                  <c:v>21</c:v>
                </c:pt>
                <c:pt idx="14">
                  <c:v>23</c:v>
                </c:pt>
                <c:pt idx="15">
                  <c:v>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FA8-47FF-853B-23C30949501B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FA8-47FF-853B-23C30949501B}"/>
              </c:ext>
            </c:extLst>
          </c:dPt>
          <c:dLbls>
            <c:dLbl>
              <c:idx val="15"/>
              <c:layout>
                <c:manualLayout>
                  <c:x val="0"/>
                  <c:y val="5.6390977443609019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FA8-47FF-853B-23C3094950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19723</c:v>
                </c:pt>
                <c:pt idx="1">
                  <c:v>20089</c:v>
                </c:pt>
                <c:pt idx="2">
                  <c:v>20454</c:v>
                </c:pt>
                <c:pt idx="3">
                  <c:v>20819</c:v>
                </c:pt>
                <c:pt idx="4">
                  <c:v>21184</c:v>
                </c:pt>
                <c:pt idx="5">
                  <c:v>21550</c:v>
                </c:pt>
                <c:pt idx="6">
                  <c:v>21915</c:v>
                </c:pt>
                <c:pt idx="7">
                  <c:v>22280</c:v>
                </c:pt>
                <c:pt idx="8">
                  <c:v>22645</c:v>
                </c:pt>
                <c:pt idx="9">
                  <c:v>23011</c:v>
                </c:pt>
                <c:pt idx="10">
                  <c:v>23376</c:v>
                </c:pt>
                <c:pt idx="11">
                  <c:v>23741</c:v>
                </c:pt>
                <c:pt idx="12">
                  <c:v>24106</c:v>
                </c:pt>
                <c:pt idx="13">
                  <c:v>24472</c:v>
                </c:pt>
                <c:pt idx="14">
                  <c:v>24837</c:v>
                </c:pt>
                <c:pt idx="15">
                  <c:v>25202</c:v>
                </c:pt>
              </c:numCache>
            </c:numRef>
          </c:xVal>
          <c:yVal>
            <c:numRef>
              <c:f>Sheet1!$A$3:$P$3</c:f>
              <c:numCache>
                <c:formatCode>General</c:formatCode>
                <c:ptCount val="16"/>
                <c:pt idx="0">
                  <c:v>5.0999999999999996</c:v>
                </c:pt>
                <c:pt idx="1">
                  <c:v>6</c:v>
                </c:pt>
                <c:pt idx="2">
                  <c:v>6.3000000000000007</c:v>
                </c:pt>
                <c:pt idx="3">
                  <c:v>6.6999999999999993</c:v>
                </c:pt>
                <c:pt idx="4">
                  <c:v>10.8</c:v>
                </c:pt>
                <c:pt idx="5">
                  <c:v>9.6999999999999993</c:v>
                </c:pt>
                <c:pt idx="6">
                  <c:v>7.8999999999999986</c:v>
                </c:pt>
                <c:pt idx="7">
                  <c:v>11.2</c:v>
                </c:pt>
                <c:pt idx="8">
                  <c:v>11.5</c:v>
                </c:pt>
                <c:pt idx="9">
                  <c:v>10.3</c:v>
                </c:pt>
                <c:pt idx="10">
                  <c:v>12.8</c:v>
                </c:pt>
                <c:pt idx="11">
                  <c:v>9.5</c:v>
                </c:pt>
                <c:pt idx="12">
                  <c:v>18.3</c:v>
                </c:pt>
                <c:pt idx="13">
                  <c:v>20.3</c:v>
                </c:pt>
                <c:pt idx="14">
                  <c:v>20.3</c:v>
                </c:pt>
                <c:pt idx="15">
                  <c:v>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FA8-47FF-853B-23C30949501B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15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FA8-47FF-853B-23C30949501B}"/>
              </c:ext>
            </c:extLst>
          </c:dPt>
          <c:dLbls>
            <c:dLbl>
              <c:idx val="15"/>
              <c:layout>
                <c:manualLayout>
                  <c:x val="0"/>
                  <c:y val="5.6390977443609019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FA8-47FF-853B-23C3094950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19723</c:v>
                </c:pt>
                <c:pt idx="1">
                  <c:v>20089</c:v>
                </c:pt>
                <c:pt idx="2">
                  <c:v>20454</c:v>
                </c:pt>
                <c:pt idx="3">
                  <c:v>20819</c:v>
                </c:pt>
                <c:pt idx="4">
                  <c:v>21184</c:v>
                </c:pt>
                <c:pt idx="5">
                  <c:v>21550</c:v>
                </c:pt>
                <c:pt idx="6">
                  <c:v>21915</c:v>
                </c:pt>
                <c:pt idx="7">
                  <c:v>22280</c:v>
                </c:pt>
                <c:pt idx="8">
                  <c:v>22645</c:v>
                </c:pt>
                <c:pt idx="9">
                  <c:v>23011</c:v>
                </c:pt>
                <c:pt idx="10">
                  <c:v>23376</c:v>
                </c:pt>
                <c:pt idx="11">
                  <c:v>23741</c:v>
                </c:pt>
                <c:pt idx="12">
                  <c:v>24106</c:v>
                </c:pt>
                <c:pt idx="13">
                  <c:v>24472</c:v>
                </c:pt>
                <c:pt idx="14">
                  <c:v>24837</c:v>
                </c:pt>
                <c:pt idx="15">
                  <c:v>25202</c:v>
                </c:pt>
              </c:numCache>
            </c:numRef>
          </c:xVal>
          <c:yVal>
            <c:numRef>
              <c:f>Sheet1!$A$4:$P$4</c:f>
              <c:numCache>
                <c:formatCode>General</c:formatCode>
                <c:ptCount val="16"/>
                <c:pt idx="0">
                  <c:v>2.6999999999999993</c:v>
                </c:pt>
                <c:pt idx="1">
                  <c:v>3.4000000000000004</c:v>
                </c:pt>
                <c:pt idx="2">
                  <c:v>4.0999999999999996</c:v>
                </c:pt>
                <c:pt idx="3">
                  <c:v>4.3000000000000007</c:v>
                </c:pt>
                <c:pt idx="4">
                  <c:v>5.8000000000000007</c:v>
                </c:pt>
                <c:pt idx="5">
                  <c:v>5</c:v>
                </c:pt>
                <c:pt idx="6">
                  <c:v>5.0999999999999996</c:v>
                </c:pt>
                <c:pt idx="7">
                  <c:v>7.3000000000000007</c:v>
                </c:pt>
                <c:pt idx="8">
                  <c:v>8.6999999999999993</c:v>
                </c:pt>
                <c:pt idx="9">
                  <c:v>8.3000000000000007</c:v>
                </c:pt>
                <c:pt idx="10">
                  <c:v>9.1999999999999993</c:v>
                </c:pt>
                <c:pt idx="11">
                  <c:v>5.3000000000000007</c:v>
                </c:pt>
                <c:pt idx="12">
                  <c:v>14.2</c:v>
                </c:pt>
                <c:pt idx="13">
                  <c:v>15.399999999999999</c:v>
                </c:pt>
                <c:pt idx="14">
                  <c:v>16</c:v>
                </c:pt>
                <c:pt idx="15">
                  <c:v>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0FA8-47FF-853B-23C3094950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5567"/>
          <c:min val="19723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"/>
        <c:crosses val="min"/>
        <c:crossBetween val="midCat"/>
        <c:majorUnit val="4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2CC227-7077-4935-A241-742EE804C5ED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8484E3-EDEE-4C87-B7CD-B3E9F06D6E1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56213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25930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006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201257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577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245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95860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37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18907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oleObject" Target="../embeddings/oleObject5.bin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slideLayout" Target="../slideLayouts/slideLayout5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chart" Target="../charts/chart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image" Target="../media/image4.emf"/><Relationship Id="rId8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34" imgW="349" imgH="350" progId="TCLayout.ActiveDocument.1">
                  <p:embed/>
                </p:oleObj>
              </mc:Choice>
              <mc:Fallback>
                <p:oleObj name="think-cell 幻灯片" r:id="rId3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39336F67-8314-C11B-5A49-9D8E65A92E7E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773113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DA588C0F-6557-7921-2F30-DBF33C748C3F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544638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D624AC05-84FD-97E9-E7FF-8454785E7706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314575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4219C39F-E8F4-34CB-1B06-75420334C3D4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3086100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24305EA2-8326-DDCD-4402-D77AE4CB58DB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3856038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B36ABE7-D582-10F2-36FB-DE1A46F5ACB8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4627563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71B04C47-8E9F-3DDE-B328-4B19B3063575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5397500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52502BB2-2DEC-6069-DC18-86AD0F1CA02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6169025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6BEA9ECD-01BE-E308-99D6-7C2FE13D987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6938963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4" name="Chart 3">
            <a:extLst>
              <a:ext uri="{FF2B5EF4-FFF2-40B4-BE49-F238E27FC236}">
                <a16:creationId xmlns:a16="http://schemas.microsoft.com/office/drawing/2014/main" id="{063C4EA1-A48F-489E-BB9A-2D6E953563AB}"/>
              </a:ext>
            </a:extLst>
          </p:cNvPr>
          <p:cNvGraphicFramePr/>
          <p:nvPr>
            <p:custDataLst>
              <p:tags r:id="rId12"/>
            </p:custDataLst>
            <p:extLst/>
          </p:nvPr>
        </p:nvGraphicFramePr>
        <p:xfrm>
          <a:off x="247650" y="1931988"/>
          <a:ext cx="6773863" cy="3800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47688" y="5543550"/>
            <a:ext cx="452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57D18B1-BF39-4D01-B8BB-1B795FFDF979}" type="datetime'''''''''''''''''''''''2''02''''''''''''''''''''''''''''''''4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320800" y="5543550"/>
            <a:ext cx="449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498F512-8D12-45F7-9570-30A6A7EB6245}" type="datetime'2''''''''''''''02''''''''''''''''''6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089150" y="5543550"/>
            <a:ext cx="452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5CEE49B-26A3-4149-9FC2-7A8399E687D8}" type="datetime'20''''''''''''''''''''''''''''''''''''''2''8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8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860675" y="5543550"/>
            <a:ext cx="452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55DFC37-5082-4301-BFC1-6E46C022CC19}" type="datetime'''2''''''''''''''''''''0''''''''''''''3''''0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3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632200" y="5543550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6F25D2E-1EC9-4B29-94D4-17AAFD9773D3}" type="datetime'''''''''''20''''''3''''''''''''''''''''2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3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402138" y="5543550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5FBEBD3-DC01-4544-9560-BBB6299A8408}" type="datetime'''''''''''''''''''''''20''''3''''''''''''4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3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173663" y="5543550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6A5F1F2-CA9A-4766-9984-A725AC891615}" type="datetime'''''''''''''''''''''''''''''2''''''''0''''''''3''''''''''''6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3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943600" y="5543550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F1D7ED0-2ACA-4BEF-92B5-DCE8F1011ECC}" type="datetime'''''''2''''''''''''''''''''''''0''3''''''''''''''''''8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38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710363" y="5543550"/>
            <a:ext cx="457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CEE3D82-384B-4CAD-962F-B392BFD49B67}" type="datetime'2''''''''''''04''''''''''0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4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AAA301C-93EF-7A14-A2E2-550C5D1B0EBD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6553200" y="2711450"/>
            <a:ext cx="428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13">
            <a:extLst>
              <a:ext uri="{FF2B5EF4-FFF2-40B4-BE49-F238E27FC236}">
                <a16:creationId xmlns:a16="http://schemas.microsoft.com/office/drawing/2014/main" id="{AAB0905C-FE6C-D5D8-6273-D251DA4C9B78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6553200" y="3357563"/>
            <a:ext cx="428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14">
            <a:extLst>
              <a:ext uri="{FF2B5EF4-FFF2-40B4-BE49-F238E27FC236}">
                <a16:creationId xmlns:a16="http://schemas.microsoft.com/office/drawing/2014/main" id="{56A97B2F-9C52-2A15-FBA1-392819BC9B96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6938963" y="2708275"/>
            <a:ext cx="0" cy="6524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Oval 11">
            <a:extLst>
              <a:ext uri="{FF2B5EF4-FFF2-40B4-BE49-F238E27FC236}">
                <a16:creationId xmlns:a16="http://schemas.microsoft.com/office/drawing/2014/main" id="{3AAB1424-F3B5-4754-9E33-7F8D4362E2B3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7029449" y="2732088"/>
            <a:ext cx="1206500" cy="603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D&amp;A g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</a:t>
            </a:r>
            <a:fld id="{EB042B31-EF7C-4004-8FC7-B5EC398DF223}" type="datetime'''''5''''''pp''''''''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pp</a:t>
            </a:fld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33" name="Straight Connector 6">
            <a:extLst>
              <a:ext uri="{FF2B5EF4-FFF2-40B4-BE49-F238E27FC236}">
                <a16:creationId xmlns:a16="http://schemas.microsoft.com/office/drawing/2014/main" id="{F1FF3CD0-F9AC-F03B-426C-2420E19A63B4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gray">
          <a:xfrm>
            <a:off x="2033588" y="5872163"/>
            <a:ext cx="23177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8">
            <a:extLst>
              <a:ext uri="{FF2B5EF4-FFF2-40B4-BE49-F238E27FC236}">
                <a16:creationId xmlns:a16="http://schemas.microsoft.com/office/drawing/2014/main" id="{F16ADC40-87D7-5422-6BA1-074D0F4A3BF6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>
            <a:off x="3176588" y="5872163"/>
            <a:ext cx="231775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9">
            <a:extLst>
              <a:ext uri="{FF2B5EF4-FFF2-40B4-BE49-F238E27FC236}">
                <a16:creationId xmlns:a16="http://schemas.microsoft.com/office/drawing/2014/main" id="{C329B22E-8C16-4F4B-2A8D-C457A4DDD8E9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gray">
          <a:xfrm>
            <a:off x="4545013" y="5872163"/>
            <a:ext cx="231775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27">
            <a:extLst>
              <a:ext uri="{FF2B5EF4-FFF2-40B4-BE49-F238E27FC236}">
                <a16:creationId xmlns:a16="http://schemas.microsoft.com/office/drawing/2014/main" id="{D313CFA8-A89E-DA6E-DF0C-3B9542DFF88F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2325688" y="5773738"/>
            <a:ext cx="739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7" name="Rectangle 28">
            <a:extLst>
              <a:ext uri="{FF2B5EF4-FFF2-40B4-BE49-F238E27FC236}">
                <a16:creationId xmlns:a16="http://schemas.microsoft.com/office/drawing/2014/main" id="{E0EBA9A6-901A-C5F7-D8D1-816BC53FEBC4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3468687" y="5773738"/>
            <a:ext cx="9652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36" name="Rectangle 46">
            <a:extLst>
              <a:ext uri="{FF2B5EF4-FFF2-40B4-BE49-F238E27FC236}">
                <a16:creationId xmlns:a16="http://schemas.microsoft.com/office/drawing/2014/main" id="{8C0C9624-A7C7-FD1D-5522-5E9A1006F3BC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4837112" y="5773738"/>
            <a:ext cx="7048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8657B193-6016-3D74-5600-1B2C2963B8D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69492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lines, comment</a:t>
            </a:r>
          </a:p>
        </p:txBody>
      </p:sp>
      <p:sp>
        <p:nvSpPr>
          <p:cNvPr id="7" name="Rechteck 137">
            <a:extLst>
              <a:ext uri="{FF2B5EF4-FFF2-40B4-BE49-F238E27FC236}">
                <a16:creationId xmlns:a16="http://schemas.microsoft.com/office/drawing/2014/main" id="{5D7B9770-CC15-BB44-202B-2008BBDF46DE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subtitle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2E12C46A-1F15-908C-B47B-B84DE6ADD982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9" name="tc_columnhead">
              <a:extLst>
                <a:ext uri="{FF2B5EF4-FFF2-40B4-BE49-F238E27FC236}">
                  <a16:creationId xmlns:a16="http://schemas.microsoft.com/office/drawing/2014/main" id="{AF9407C0-ACBE-6BA3-8E01-62153A1740A6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1" name="tc_columnheadline">
              <a:extLst>
                <a:ext uri="{FF2B5EF4-FFF2-40B4-BE49-F238E27FC236}">
                  <a16:creationId xmlns:a16="http://schemas.microsoft.com/office/drawing/2014/main" id="{33EA1256-F15F-13C8-EB62-CC6B292FC9A3}"/>
                </a:ext>
              </a:extLst>
            </p:cNvPr>
            <p:cNvCxnSpPr>
              <a:cxnSpLocks/>
              <a:stCxn id="9" idx="4"/>
              <a:endCxn id="9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3EE7A73E-8730-B396-2380-4A347A8DFF2D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F0147EA0-3959-76B5-BE1B-598DE5FA44AA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4" name="tc_columnheadline">
              <a:extLst>
                <a:ext uri="{FF2B5EF4-FFF2-40B4-BE49-F238E27FC236}">
                  <a16:creationId xmlns:a16="http://schemas.microsoft.com/office/drawing/2014/main" id="{6FEC5F36-E43E-0286-E3F3-58504C71CB8B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86225B0A-78B0-4012-9226-00F9C9F9CE3A}"/>
              </a:ext>
            </a:extLst>
          </p:cNvPr>
          <p:cNvSpPr txBox="1"/>
          <p:nvPr/>
        </p:nvSpPr>
        <p:spPr>
          <a:xfrm>
            <a:off x="5446800" y="886002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充图标内数据</a:t>
            </a:r>
          </a:p>
        </p:txBody>
      </p:sp>
    </p:spTree>
    <p:extLst>
      <p:ext uri="{BB962C8B-B14F-4D97-AF65-F5344CB8AC3E}">
        <p14:creationId xmlns:p14="http://schemas.microsoft.com/office/powerpoint/2010/main" val="8044463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YD1zHnUd60n_5HIKH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Y2ySogmeYPcjIowzXv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FMdl38FGWsB7UGCfpX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qlrqyKyQoIsLGq7BUE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D891dzvyBIxpPtqyZl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dYokJNFpFJ_r5cp32u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6H68fIJhpl1opUQpJt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Jy1RSpwdmGBdNeAL2o.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HfIz2ZIzB6uJSO6pen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BGqMcD3bqfcyBXG7Uf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_ZDaifDKbdkbxdQU5T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Aouf2T3fS7NQFUrDSJ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H0I4MbeO_EVBPWjEgGM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caxEncnunO23Hu3IW2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OFdUXCPhCFTZKXRQD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F1tMUGCtsGDs.3LBLy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UkSJsNDRW0vXf5kEc4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UUjmDAjQWeXQXfp48z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GxnqLP1Z_g6bGceNd0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HC_l2rVoNYaoJJ43KI0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CUgJdHtrtAzTa9Ekupb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K9.PF_WQCbAIz6hiim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zbs058YsIVzJcotNYH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gy95q9gZIxFooSOFZAW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xuYpg8yG9G.EIWnFs1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HWL6OGPHH5oFxrV8jw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OKjU0aIh78HPKrsnqn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0lf1FfDWTjdFvE25Y.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UUv9OT5mnMHp2RqHmd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71</Words>
  <Application>Microsoft Office PowerPoint</Application>
  <PresentationFormat>宽屏</PresentationFormat>
  <Paragraphs>23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6:59:33Z</dcterms:created>
  <dcterms:modified xsi:type="dcterms:W3CDTF">2025-09-10T07:00:51Z</dcterms:modified>
</cp:coreProperties>
</file>